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</p:sldIdLst>
  <p:sldSz cx="9144000" cy="6858000" type="screen4x3"/>
  <p:notesSz cx="6858000" cy="9144000"/>
  <p:custDataLst>
    <p:tags r:id="rId13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ED0D3"/>
    <a:srgbClr val="697078"/>
    <a:srgbClr val="4E5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2"/>
    <p:restoredTop sz="94707"/>
  </p:normalViewPr>
  <p:slideViewPr>
    <p:cSldViewPr snapToObjects="1">
      <p:cViewPr varScale="1">
        <p:scale>
          <a:sx n="90" d="100"/>
          <a:sy n="90" d="100"/>
        </p:scale>
        <p:origin x="720" y="19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A3372-C556-4678-ADCC-3266A1490628}" type="datetimeFigureOut">
              <a:rPr lang="nb-NO" smtClean="0"/>
              <a:t>26.01.2018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E8C22-00AC-4214-B956-F6F3EF5B7F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81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0505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377" y="3607651"/>
            <a:ext cx="9142868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40068" y="4293096"/>
            <a:ext cx="77724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40068" y="4100735"/>
            <a:ext cx="77724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" y="6150922"/>
            <a:ext cx="9143245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540068" y="6518975"/>
            <a:ext cx="4248531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ARRANGEMENT DATO STED</a:t>
            </a:r>
          </a:p>
        </p:txBody>
      </p:sp>
      <p:pic>
        <p:nvPicPr>
          <p:cNvPr id="18" name="Bilde 1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7826" y="6425220"/>
            <a:ext cx="4096174" cy="43278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9144000" cy="713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cxnSp>
        <p:nvCxnSpPr>
          <p:cNvPr id="6" name="Rett linje 5"/>
          <p:cNvCxnSpPr/>
          <p:nvPr userDrawn="1"/>
        </p:nvCxnSpPr>
        <p:spPr>
          <a:xfrm>
            <a:off x="540000" y="6307200"/>
            <a:ext cx="80640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52074"/>
            <a:ext cx="3949882" cy="50592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9144000" cy="713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68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bg>
      <p:bgPr>
        <a:solidFill>
          <a:srgbClr val="CED0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08851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5162"/>
            <a:ext cx="9144000" cy="6016752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40068" y="2720980"/>
            <a:ext cx="77724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40068" y="2528619"/>
            <a:ext cx="77724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" y="6150922"/>
            <a:ext cx="9143245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540068" y="6518975"/>
            <a:ext cx="4247956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ARRANGEMENT DATO STED</a:t>
            </a:r>
          </a:p>
        </p:txBody>
      </p:sp>
      <p:pic>
        <p:nvPicPr>
          <p:cNvPr id="18" name="Bilde 17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7826" y="6425220"/>
            <a:ext cx="4096174" cy="43278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9144000" cy="713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5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40068" y="1912859"/>
            <a:ext cx="3960000" cy="4279915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44068" y="1912859"/>
            <a:ext cx="3960000" cy="4279915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40068" y="1912859"/>
            <a:ext cx="3960000" cy="4279915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44068" y="1912859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4644068" y="4122774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14582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644068" y="1912859"/>
            <a:ext cx="3960000" cy="4279915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40068" y="1912859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40068" y="4122774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5330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644068" y="1912860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40068" y="1912859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40068" y="4122774"/>
            <a:ext cx="8064000" cy="207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250999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644068" y="1912860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40068" y="1912859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40068" y="4122774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4645211" y="4122774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4127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20287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43516" y="1935882"/>
            <a:ext cx="3956476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540068" y="2590800"/>
            <a:ext cx="3960000" cy="360197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4647516" y="1935882"/>
            <a:ext cx="3956476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4644068" y="2590800"/>
            <a:ext cx="3960000" cy="360197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9427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40068" y="1429020"/>
            <a:ext cx="8064000" cy="24622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40068" y="1912859"/>
            <a:ext cx="8064000" cy="42799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498595" y="6359375"/>
            <a:ext cx="2105473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/>
          <p:cNvCxnSpPr/>
          <p:nvPr userDrawn="1"/>
        </p:nvCxnSpPr>
        <p:spPr>
          <a:xfrm>
            <a:off x="540000" y="1800000"/>
            <a:ext cx="80640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/>
          <p:nvPr userDrawn="1"/>
        </p:nvCxnSpPr>
        <p:spPr>
          <a:xfrm>
            <a:off x="540000" y="6307200"/>
            <a:ext cx="80640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Bilde 20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52074"/>
            <a:ext cx="3949882" cy="5059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9144000" cy="713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53" r:id="rId9"/>
    <p:sldLayoutId id="2147483655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rgbClr val="828990"/>
        </a:buClr>
        <a:buFont typeface="Arial" pitchFamily="34" charset="0"/>
        <a:buChar char="›"/>
        <a:defRPr sz="1600" kern="1200">
          <a:solidFill>
            <a:srgbClr val="4E576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4E5761"/>
          </a:solidFill>
          <a:latin typeface="+mn-lt"/>
          <a:ea typeface="+mn-ea"/>
          <a:cs typeface="+mn-cs"/>
        </a:defRPr>
      </a:lvl2pPr>
      <a:lvl3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1200" kern="1200">
          <a:solidFill>
            <a:srgbClr val="697078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Undertittel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nb-NO"/>
              <a:t>ARRANGEMENT DATO STED</a:t>
            </a:r>
          </a:p>
        </p:txBody>
      </p:sp>
    </p:spTree>
    <p:extLst>
      <p:ext uri="{BB962C8B-B14F-4D97-AF65-F5344CB8AC3E}">
        <p14:creationId xmlns:p14="http://schemas.microsoft.com/office/powerpoint/2010/main" val="30723244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874041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ARRANGEMENT DATO STE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40685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555945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61729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637895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171895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69542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innhold 5"/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292447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innhold 5"/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5168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jerknes_PPT.potx" id="{DEBE959C-7673-45E6-ACC2-DD10973A8D3C}" vid="{84FDAD7F-790D-4F0A-99C6-4E6B8988EC41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</Words>
  <Application>Microsoft Macintosh PowerPoint</Application>
  <PresentationFormat>Skjermfremvisning (4:3)</PresentationFormat>
  <Paragraphs>10</Paragraphs>
  <Slides>10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0</vt:i4>
      </vt:variant>
    </vt:vector>
  </HeadingPairs>
  <TitlesOfParts>
    <vt:vector size="14" baseType="lpstr">
      <vt:lpstr>Arial</vt:lpstr>
      <vt:lpstr>Calibri</vt:lpstr>
      <vt:lpstr>blank</vt:lpstr>
      <vt:lpstr>think-cell Slide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</vt:vector>
  </TitlesOfParts>
  <Company/>
  <LinksUpToDate>false</LinksUpToDate>
  <SharedDoc>false</SharedDoc>
  <HyperlinksChanged>false</HyperlinksChanged>
  <AppVersion>16.0009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Gudrun Sylte</dc:creator>
  <cp:lastModifiedBy>Gudrun Sylte</cp:lastModifiedBy>
  <cp:revision>1</cp:revision>
  <dcterms:created xsi:type="dcterms:W3CDTF">2018-01-26T12:33:39Z</dcterms:created>
  <dcterms:modified xsi:type="dcterms:W3CDTF">2018-01-26T12:34:24Z</dcterms:modified>
</cp:coreProperties>
</file>